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  <p:sldMasterId id="2147483653" r:id="rId2"/>
    <p:sldMasterId id="2147483665" r:id="rId3"/>
  </p:sldMasterIdLst>
  <p:notesMasterIdLst>
    <p:notesMasterId r:id="rId5"/>
  </p:notesMasterIdLst>
  <p:handoutMasterIdLst>
    <p:handoutMasterId r:id="rId6"/>
  </p:handoutMasterIdLst>
  <p:sldIdLst>
    <p:sldId id="279" r:id="rId4"/>
  </p:sldIdLst>
  <p:sldSz cx="20574000" cy="36576000"/>
  <p:notesSz cx="6729413" cy="9867900"/>
  <p:custDataLst>
    <p:tags r:id="rId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32507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65015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975234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30031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1625394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1950472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2275550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2600628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36">
          <p15:clr>
            <a:srgbClr val="A4A3A4"/>
          </p15:clr>
        </p15:guide>
        <p15:guide id="2" orient="horz" pos="22416">
          <p15:clr>
            <a:srgbClr val="A4A3A4"/>
          </p15:clr>
        </p15:guide>
        <p15:guide id="3" orient="horz" pos="22016">
          <p15:clr>
            <a:srgbClr val="A4A3A4"/>
          </p15:clr>
        </p15:guide>
        <p15:guide id="4" orient="horz" pos="1120">
          <p15:clr>
            <a:srgbClr val="A4A3A4"/>
          </p15:clr>
        </p15:guide>
        <p15:guide id="5" orient="horz" pos="1768">
          <p15:clr>
            <a:srgbClr val="A4A3A4"/>
          </p15:clr>
        </p15:guide>
        <p15:guide id="6" orient="horz" pos="348">
          <p15:clr>
            <a:srgbClr val="A4A3A4"/>
          </p15:clr>
        </p15:guide>
        <p15:guide id="7" orient="horz" pos="22640">
          <p15:clr>
            <a:srgbClr val="A4A3A4"/>
          </p15:clr>
        </p15:guide>
        <p15:guide id="8" pos="864">
          <p15:clr>
            <a:srgbClr val="A4A3A4"/>
          </p15:clr>
        </p15:guide>
        <p15:guide id="9" pos="11668">
          <p15:clr>
            <a:srgbClr val="A4A3A4"/>
          </p15:clr>
        </p15:guide>
        <p15:guide id="10" pos="12672">
          <p15:clr>
            <a:srgbClr val="A4A3A4"/>
          </p15:clr>
        </p15:guide>
        <p15:guide id="11" pos="2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1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ABE2"/>
    <a:srgbClr val="000000"/>
    <a:srgbClr val="6E2B89"/>
    <a:srgbClr val="66FF33"/>
    <a:srgbClr val="66CCFF"/>
    <a:srgbClr val="339933"/>
    <a:srgbClr val="FFCC00"/>
    <a:srgbClr val="E552A3"/>
    <a:srgbClr val="29DB90"/>
    <a:srgbClr val="A90B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355D98-2F7E-4D9F-87F3-0469582BDFBC}" v="3" dt="2022-11-16T09:16:03.9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08" autoAdjust="0"/>
    <p:restoredTop sz="96389" autoAdjust="0"/>
  </p:normalViewPr>
  <p:slideViewPr>
    <p:cSldViewPr showGuides="1">
      <p:cViewPr>
        <p:scale>
          <a:sx n="40" d="100"/>
          <a:sy n="40" d="100"/>
        </p:scale>
        <p:origin x="760" y="20"/>
      </p:cViewPr>
      <p:guideLst>
        <p:guide orient="horz" pos="2336"/>
        <p:guide orient="horz" pos="22416"/>
        <p:guide orient="horz" pos="22016"/>
        <p:guide orient="horz" pos="1120"/>
        <p:guide orient="horz" pos="1768"/>
        <p:guide orient="horz" pos="348"/>
        <p:guide orient="horz" pos="22640"/>
        <p:guide pos="864"/>
        <p:guide pos="11668"/>
        <p:guide pos="12672"/>
        <p:guide pos="2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-3930" y="-72"/>
      </p:cViewPr>
      <p:guideLst>
        <p:guide orient="horz" pos="3108"/>
        <p:guide pos="211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10" name="Picture 14" descr="asml-logo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25" y="0"/>
            <a:ext cx="2490788" cy="881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46088" y="360363"/>
            <a:ext cx="3913187" cy="385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t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52438" y="9374188"/>
            <a:ext cx="603250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endParaRPr 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157288" y="9374188"/>
            <a:ext cx="5089525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40475" y="9374188"/>
            <a:ext cx="388938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fld id="{5CD6086E-A90C-42A2-A900-EF97CBA19A0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0382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asml-logo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25" y="8986838"/>
            <a:ext cx="2490788" cy="881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19163" y="239713"/>
            <a:ext cx="4891087" cy="398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t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54250" y="739775"/>
            <a:ext cx="2222500" cy="3949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12775" y="4933950"/>
            <a:ext cx="5503863" cy="3736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dt" idx="1"/>
          </p:nvPr>
        </p:nvSpPr>
        <p:spPr bwMode="auto">
          <a:xfrm>
            <a:off x="50800" y="8747125"/>
            <a:ext cx="1071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endParaRPr lang="en-US"/>
          </a:p>
        </p:txBody>
      </p:sp>
      <p:sp>
        <p:nvSpPr>
          <p:cNvPr id="3081" name="Rectangle 9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196975" y="8747125"/>
            <a:ext cx="48434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3082" name="Rectangle 10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16638" y="8729663"/>
            <a:ext cx="612775" cy="315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fld id="{A1132A84-EFBD-4035-AFA0-0F9538467A8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9047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1pPr>
    <a:lvl2pPr marL="325078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2pPr>
    <a:lvl3pPr marL="650156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3pPr>
    <a:lvl4pPr marL="975234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4pPr>
    <a:lvl5pPr marL="1300316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5pPr>
    <a:lvl6pPr marL="1625394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50472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75550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600628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B937DF1-1BC2-4D49-86C1-5CD88441DD99}" type="slidenum">
              <a:rPr lang="en-US"/>
              <a:pPr/>
              <a:t>1</a:t>
            </a:fld>
            <a:endParaRPr lang="en-US"/>
          </a:p>
        </p:txBody>
      </p:sp>
      <p:sp>
        <p:nvSpPr>
          <p:cNvPr id="403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54250" y="739775"/>
            <a:ext cx="2222500" cy="3949700"/>
          </a:xfrm>
          <a:ln/>
        </p:spPr>
      </p:sp>
      <p:sp>
        <p:nvSpPr>
          <p:cNvPr id="403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el 1"/>
          <p:cNvSpPr>
            <a:spLocks noGrp="1"/>
          </p:cNvSpPr>
          <p:nvPr>
            <p:ph type="ctrTitle"/>
          </p:nvPr>
        </p:nvSpPr>
        <p:spPr>
          <a:xfrm>
            <a:off x="1373548" y="1780008"/>
            <a:ext cx="11045456" cy="47656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1708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0" name="Ondertitel 2"/>
          <p:cNvSpPr>
            <a:spLocks noGrp="1"/>
          </p:cNvSpPr>
          <p:nvPr>
            <p:ph type="subTitle" idx="1"/>
          </p:nvPr>
        </p:nvSpPr>
        <p:spPr>
          <a:xfrm>
            <a:off x="1373548" y="2524282"/>
            <a:ext cx="11045456" cy="29785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ts val="1068"/>
              </a:lnSpc>
              <a:spcAft>
                <a:spcPts val="0"/>
              </a:spcAft>
              <a:buNone/>
              <a:defRPr sz="2000" b="0">
                <a:solidFill>
                  <a:schemeClr val="tx1"/>
                </a:solidFill>
              </a:defRPr>
            </a:lvl1pPr>
            <a:lvl2pPr marL="325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50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5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00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25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50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75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00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42" name="Tijdelijke aanduiding voor tekst 41"/>
          <p:cNvSpPr>
            <a:spLocks noGrp="1"/>
          </p:cNvSpPr>
          <p:nvPr>
            <p:ph type="body" sz="quarter" idx="10" hasCustomPrompt="1"/>
          </p:nvPr>
        </p:nvSpPr>
        <p:spPr>
          <a:xfrm>
            <a:off x="13288188" y="3319392"/>
            <a:ext cx="5233120" cy="44677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spcBef>
                <a:spcPts val="0"/>
              </a:spcBef>
              <a:spcAft>
                <a:spcPts val="0"/>
              </a:spcAft>
              <a:defRPr sz="2800"/>
            </a:lvl1pPr>
          </a:lstStyle>
          <a:p>
            <a:pPr lvl="0"/>
            <a:r>
              <a:rPr lang="nl-NL" sz="2800" dirty="0" err="1"/>
              <a:t>Category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551037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171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8702" y="1455746"/>
            <a:ext cx="6768380" cy="6197764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43540" y="1455746"/>
            <a:ext cx="11501760" cy="312171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8702" y="7653510"/>
            <a:ext cx="6768380" cy="25019412"/>
          </a:xfrm>
        </p:spPr>
        <p:txBody>
          <a:bodyPr/>
          <a:lstStyle>
            <a:lvl1pPr marL="0" indent="0">
              <a:buNone/>
              <a:defRPr sz="800"/>
            </a:lvl1pPr>
            <a:lvl2pPr marL="325078" indent="0">
              <a:buNone/>
              <a:defRPr sz="800"/>
            </a:lvl2pPr>
            <a:lvl3pPr marL="650156" indent="0">
              <a:buNone/>
              <a:defRPr sz="800"/>
            </a:lvl3pPr>
            <a:lvl4pPr marL="975234" indent="0">
              <a:buNone/>
              <a:defRPr sz="800"/>
            </a:lvl4pPr>
            <a:lvl5pPr marL="1300316" indent="0">
              <a:buNone/>
              <a:defRPr sz="800"/>
            </a:lvl5pPr>
            <a:lvl6pPr marL="1625394" indent="0">
              <a:buNone/>
              <a:defRPr sz="800"/>
            </a:lvl6pPr>
            <a:lvl7pPr marL="1950472" indent="0">
              <a:buNone/>
              <a:defRPr sz="800"/>
            </a:lvl7pPr>
            <a:lvl8pPr marL="2275550" indent="0">
              <a:buNone/>
              <a:defRPr sz="800"/>
            </a:lvl8pPr>
            <a:lvl9pPr marL="26006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556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2972" y="25602706"/>
            <a:ext cx="12344400" cy="3023180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32972" y="3267664"/>
            <a:ext cx="12344400" cy="21946592"/>
          </a:xfrm>
        </p:spPr>
        <p:txBody>
          <a:bodyPr/>
          <a:lstStyle>
            <a:lvl1pPr marL="0" indent="0">
              <a:buNone/>
              <a:defRPr sz="2400"/>
            </a:lvl1pPr>
            <a:lvl2pPr marL="325078" indent="0">
              <a:buNone/>
              <a:defRPr sz="2000"/>
            </a:lvl2pPr>
            <a:lvl3pPr marL="650156" indent="0">
              <a:buNone/>
              <a:defRPr sz="1600"/>
            </a:lvl3pPr>
            <a:lvl4pPr marL="975234" indent="0">
              <a:buNone/>
              <a:defRPr sz="1600"/>
            </a:lvl4pPr>
            <a:lvl5pPr marL="1300316" indent="0">
              <a:buNone/>
              <a:defRPr sz="1600"/>
            </a:lvl5pPr>
            <a:lvl6pPr marL="1625394" indent="0">
              <a:buNone/>
              <a:defRPr sz="1600"/>
            </a:lvl6pPr>
            <a:lvl7pPr marL="1950472" indent="0">
              <a:buNone/>
              <a:defRPr sz="1600"/>
            </a:lvl7pPr>
            <a:lvl8pPr marL="2275550" indent="0">
              <a:buNone/>
              <a:defRPr sz="1600"/>
            </a:lvl8pPr>
            <a:lvl9pPr marL="2600628" indent="0">
              <a:buNone/>
              <a:defRPr sz="16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32972" y="28625886"/>
            <a:ext cx="12344400" cy="4292764"/>
          </a:xfrm>
        </p:spPr>
        <p:txBody>
          <a:bodyPr/>
          <a:lstStyle>
            <a:lvl1pPr marL="0" indent="0">
              <a:buNone/>
              <a:defRPr sz="800"/>
            </a:lvl1pPr>
            <a:lvl2pPr marL="325078" indent="0">
              <a:buNone/>
              <a:defRPr sz="800"/>
            </a:lvl2pPr>
            <a:lvl3pPr marL="650156" indent="0">
              <a:buNone/>
              <a:defRPr sz="800"/>
            </a:lvl3pPr>
            <a:lvl4pPr marL="975234" indent="0">
              <a:buNone/>
              <a:defRPr sz="800"/>
            </a:lvl4pPr>
            <a:lvl5pPr marL="1300316" indent="0">
              <a:buNone/>
              <a:defRPr sz="800"/>
            </a:lvl5pPr>
            <a:lvl6pPr marL="1625394" indent="0">
              <a:buNone/>
              <a:defRPr sz="800"/>
            </a:lvl6pPr>
            <a:lvl7pPr marL="1950472" indent="0">
              <a:buNone/>
              <a:defRPr sz="800"/>
            </a:lvl7pPr>
            <a:lvl8pPr marL="2275550" indent="0">
              <a:buNone/>
              <a:defRPr sz="800"/>
            </a:lvl8pPr>
            <a:lvl9pPr marL="26006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518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4237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916148" y="1464434"/>
            <a:ext cx="4629152" cy="3120849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28702" y="1464434"/>
            <a:ext cx="13793932" cy="3120849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05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43054" y="11361744"/>
            <a:ext cx="17487900" cy="78409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86100" y="20726650"/>
            <a:ext cx="14401800" cy="934753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25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50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5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00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25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50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75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00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351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333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4882" y="23502862"/>
            <a:ext cx="17487900" cy="7265060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4882" y="15501860"/>
            <a:ext cx="17487900" cy="8001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3250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5015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7523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130031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62539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950472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227555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2600628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1323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8702" y="8534648"/>
            <a:ext cx="9211540" cy="24138272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333762" y="8534648"/>
            <a:ext cx="9211540" cy="24138272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4677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8702" y="8187156"/>
            <a:ext cx="9090748" cy="3411624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25078" indent="0">
              <a:buNone/>
              <a:defRPr sz="1600" b="1"/>
            </a:lvl2pPr>
            <a:lvl3pPr marL="650156" indent="0">
              <a:buNone/>
              <a:defRPr sz="1200" b="1"/>
            </a:lvl3pPr>
            <a:lvl4pPr marL="975234" indent="0">
              <a:buNone/>
              <a:defRPr sz="1200" b="1"/>
            </a:lvl4pPr>
            <a:lvl5pPr marL="1300316" indent="0">
              <a:buNone/>
              <a:defRPr sz="1200" b="1"/>
            </a:lvl5pPr>
            <a:lvl6pPr marL="1625394" indent="0">
              <a:buNone/>
              <a:defRPr sz="1200" b="1"/>
            </a:lvl6pPr>
            <a:lvl7pPr marL="1950472" indent="0">
              <a:buNone/>
              <a:defRPr sz="1200" b="1"/>
            </a:lvl7pPr>
            <a:lvl8pPr marL="2275550" indent="0">
              <a:buNone/>
              <a:defRPr sz="1200" b="1"/>
            </a:lvl8pPr>
            <a:lvl9pPr marL="26006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8702" y="11598782"/>
            <a:ext cx="9090748" cy="210741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451634" y="8187156"/>
            <a:ext cx="9093668" cy="3411624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25078" indent="0">
              <a:buNone/>
              <a:defRPr sz="1600" b="1"/>
            </a:lvl2pPr>
            <a:lvl3pPr marL="650156" indent="0">
              <a:buNone/>
              <a:defRPr sz="1200" b="1"/>
            </a:lvl3pPr>
            <a:lvl4pPr marL="975234" indent="0">
              <a:buNone/>
              <a:defRPr sz="1200" b="1"/>
            </a:lvl4pPr>
            <a:lvl5pPr marL="1300316" indent="0">
              <a:buNone/>
              <a:defRPr sz="1200" b="1"/>
            </a:lvl5pPr>
            <a:lvl6pPr marL="1625394" indent="0">
              <a:buNone/>
              <a:defRPr sz="1200" b="1"/>
            </a:lvl6pPr>
            <a:lvl7pPr marL="1950472" indent="0">
              <a:buNone/>
              <a:defRPr sz="1200" b="1"/>
            </a:lvl7pPr>
            <a:lvl8pPr marL="2275550" indent="0">
              <a:buNone/>
              <a:defRPr sz="1200" b="1"/>
            </a:lvl8pPr>
            <a:lvl9pPr marL="26006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451634" y="11598782"/>
            <a:ext cx="9093668" cy="210741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2571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8700" y="1464428"/>
            <a:ext cx="18516600" cy="6096000"/>
          </a:xfrm>
          <a:prstGeom prst="rect">
            <a:avLst/>
          </a:prstGeom>
        </p:spPr>
        <p:txBody>
          <a:bodyPr lIns="65016" tIns="32508" rIns="65016" bIns="3250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5570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8296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3430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8702" y="1455746"/>
            <a:ext cx="6768380" cy="6197764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43540" y="1455746"/>
            <a:ext cx="11501760" cy="312171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8702" y="7653510"/>
            <a:ext cx="6768380" cy="25019412"/>
          </a:xfrm>
        </p:spPr>
        <p:txBody>
          <a:bodyPr/>
          <a:lstStyle>
            <a:lvl1pPr marL="0" indent="0">
              <a:buNone/>
              <a:defRPr sz="800"/>
            </a:lvl1pPr>
            <a:lvl2pPr marL="325078" indent="0">
              <a:buNone/>
              <a:defRPr sz="800"/>
            </a:lvl2pPr>
            <a:lvl3pPr marL="650156" indent="0">
              <a:buNone/>
              <a:defRPr sz="800"/>
            </a:lvl3pPr>
            <a:lvl4pPr marL="975234" indent="0">
              <a:buNone/>
              <a:defRPr sz="800"/>
            </a:lvl4pPr>
            <a:lvl5pPr marL="1300316" indent="0">
              <a:buNone/>
              <a:defRPr sz="800"/>
            </a:lvl5pPr>
            <a:lvl6pPr marL="1625394" indent="0">
              <a:buNone/>
              <a:defRPr sz="800"/>
            </a:lvl6pPr>
            <a:lvl7pPr marL="1950472" indent="0">
              <a:buNone/>
              <a:defRPr sz="800"/>
            </a:lvl7pPr>
            <a:lvl8pPr marL="2275550" indent="0">
              <a:buNone/>
              <a:defRPr sz="800"/>
            </a:lvl8pPr>
            <a:lvl9pPr marL="26006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0648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2972" y="25602706"/>
            <a:ext cx="12344400" cy="3023180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32972" y="3267664"/>
            <a:ext cx="12344400" cy="21946592"/>
          </a:xfrm>
        </p:spPr>
        <p:txBody>
          <a:bodyPr/>
          <a:lstStyle>
            <a:lvl1pPr marL="0" indent="0">
              <a:buNone/>
              <a:defRPr sz="2400"/>
            </a:lvl1pPr>
            <a:lvl2pPr marL="325078" indent="0">
              <a:buNone/>
              <a:defRPr sz="2000"/>
            </a:lvl2pPr>
            <a:lvl3pPr marL="650156" indent="0">
              <a:buNone/>
              <a:defRPr sz="1600"/>
            </a:lvl3pPr>
            <a:lvl4pPr marL="975234" indent="0">
              <a:buNone/>
              <a:defRPr sz="1600"/>
            </a:lvl4pPr>
            <a:lvl5pPr marL="1300316" indent="0">
              <a:buNone/>
              <a:defRPr sz="1600"/>
            </a:lvl5pPr>
            <a:lvl6pPr marL="1625394" indent="0">
              <a:buNone/>
              <a:defRPr sz="1600"/>
            </a:lvl6pPr>
            <a:lvl7pPr marL="1950472" indent="0">
              <a:buNone/>
              <a:defRPr sz="1600"/>
            </a:lvl7pPr>
            <a:lvl8pPr marL="2275550" indent="0">
              <a:buNone/>
              <a:defRPr sz="1600"/>
            </a:lvl8pPr>
            <a:lvl9pPr marL="2600628" indent="0">
              <a:buNone/>
              <a:defRPr sz="16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32972" y="28625886"/>
            <a:ext cx="12344400" cy="4292764"/>
          </a:xfrm>
        </p:spPr>
        <p:txBody>
          <a:bodyPr/>
          <a:lstStyle>
            <a:lvl1pPr marL="0" indent="0">
              <a:buNone/>
              <a:defRPr sz="800"/>
            </a:lvl1pPr>
            <a:lvl2pPr marL="325078" indent="0">
              <a:buNone/>
              <a:defRPr sz="800"/>
            </a:lvl2pPr>
            <a:lvl3pPr marL="650156" indent="0">
              <a:buNone/>
              <a:defRPr sz="800"/>
            </a:lvl3pPr>
            <a:lvl4pPr marL="975234" indent="0">
              <a:buNone/>
              <a:defRPr sz="800"/>
            </a:lvl4pPr>
            <a:lvl5pPr marL="1300316" indent="0">
              <a:buNone/>
              <a:defRPr sz="800"/>
            </a:lvl5pPr>
            <a:lvl6pPr marL="1625394" indent="0">
              <a:buNone/>
              <a:defRPr sz="800"/>
            </a:lvl6pPr>
            <a:lvl7pPr marL="1950472" indent="0">
              <a:buNone/>
              <a:defRPr sz="800"/>
            </a:lvl7pPr>
            <a:lvl8pPr marL="2275550" indent="0">
              <a:buNone/>
              <a:defRPr sz="800"/>
            </a:lvl8pPr>
            <a:lvl9pPr marL="26006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9300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173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916148" y="1464434"/>
            <a:ext cx="4629152" cy="3120849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28702" y="1464434"/>
            <a:ext cx="13793932" cy="3120849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192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373550" y="6016148"/>
            <a:ext cx="17150844" cy="28934088"/>
          </a:xfrm>
          <a:prstGeom prst="rect">
            <a:avLst/>
          </a:prstGeom>
        </p:spPr>
        <p:txBody>
          <a:bodyPr lIns="65016" tIns="32508" rIns="65016" bIns="32508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1pPr>
            <a:lvl2pPr marL="1524936" indent="-76303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800">
                <a:solidFill>
                  <a:schemeClr val="tx1"/>
                </a:solidFill>
              </a:defRPr>
            </a:lvl2pPr>
            <a:lvl3pPr marL="2286840" indent="-76190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3071318" indent="-78447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4pPr>
            <a:lvl5pPr marL="3833218" indent="-76190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5pPr>
            <a:lvl6pPr marL="4596254" indent="-76303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6pPr>
            <a:lvl7pPr marL="5358154" indent="-76190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5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12187028" y="4643648"/>
            <a:ext cx="6335880" cy="2482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ategory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2187034" y="4080780"/>
            <a:ext cx="6335508" cy="2482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nl-NL"/>
              <a:t>Slide </a:t>
            </a:r>
            <a:fld id="{1D9B13CD-33A0-446D-8703-F89F9F109F54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187028" y="3517916"/>
            <a:ext cx="6342672" cy="24820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12th ASML Technology Conference June 29th, 2011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374058" y="2016442"/>
            <a:ext cx="9940908" cy="99346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0"/>
              </a:spcBef>
              <a:spcAft>
                <a:spcPts val="0"/>
              </a:spcAft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0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1373550" y="3188066"/>
            <a:ext cx="9940908" cy="595700"/>
          </a:xfrm>
          <a:prstGeom prst="rect">
            <a:avLst/>
          </a:prstGeom>
        </p:spPr>
        <p:txBody>
          <a:bodyPr lIns="65016" tIns="32508" rIns="65016" bIns="32508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0900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43054" y="11361744"/>
            <a:ext cx="17487900" cy="78409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86100" y="20726650"/>
            <a:ext cx="14401800" cy="934753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25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50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5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00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25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50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75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00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722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477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4882" y="23502862"/>
            <a:ext cx="17487900" cy="7265060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4882" y="15501860"/>
            <a:ext cx="17487900" cy="8001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3250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5015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7523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130031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62539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950472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227555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2600628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0159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8702" y="8534648"/>
            <a:ext cx="9211540" cy="24138272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333762" y="8534648"/>
            <a:ext cx="9211540" cy="24138272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012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8702" y="8187156"/>
            <a:ext cx="9090748" cy="3411624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25078" indent="0">
              <a:buNone/>
              <a:defRPr sz="1600" b="1"/>
            </a:lvl2pPr>
            <a:lvl3pPr marL="650156" indent="0">
              <a:buNone/>
              <a:defRPr sz="1200" b="1"/>
            </a:lvl3pPr>
            <a:lvl4pPr marL="975234" indent="0">
              <a:buNone/>
              <a:defRPr sz="1200" b="1"/>
            </a:lvl4pPr>
            <a:lvl5pPr marL="1300316" indent="0">
              <a:buNone/>
              <a:defRPr sz="1200" b="1"/>
            </a:lvl5pPr>
            <a:lvl6pPr marL="1625394" indent="0">
              <a:buNone/>
              <a:defRPr sz="1200" b="1"/>
            </a:lvl6pPr>
            <a:lvl7pPr marL="1950472" indent="0">
              <a:buNone/>
              <a:defRPr sz="1200" b="1"/>
            </a:lvl7pPr>
            <a:lvl8pPr marL="2275550" indent="0">
              <a:buNone/>
              <a:defRPr sz="1200" b="1"/>
            </a:lvl8pPr>
            <a:lvl9pPr marL="26006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8702" y="11598782"/>
            <a:ext cx="9090748" cy="210741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451634" y="8187156"/>
            <a:ext cx="9093668" cy="3411624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25078" indent="0">
              <a:buNone/>
              <a:defRPr sz="1600" b="1"/>
            </a:lvl2pPr>
            <a:lvl3pPr marL="650156" indent="0">
              <a:buNone/>
              <a:defRPr sz="1200" b="1"/>
            </a:lvl3pPr>
            <a:lvl4pPr marL="975234" indent="0">
              <a:buNone/>
              <a:defRPr sz="1200" b="1"/>
            </a:lvl4pPr>
            <a:lvl5pPr marL="1300316" indent="0">
              <a:buNone/>
              <a:defRPr sz="1200" b="1"/>
            </a:lvl5pPr>
            <a:lvl6pPr marL="1625394" indent="0">
              <a:buNone/>
              <a:defRPr sz="1200" b="1"/>
            </a:lvl6pPr>
            <a:lvl7pPr marL="1950472" indent="0">
              <a:buNone/>
              <a:defRPr sz="1200" b="1"/>
            </a:lvl7pPr>
            <a:lvl8pPr marL="2275550" indent="0">
              <a:buNone/>
              <a:defRPr sz="1200" b="1"/>
            </a:lvl8pPr>
            <a:lvl9pPr marL="26006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451634" y="11598782"/>
            <a:ext cx="9093668" cy="210741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385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539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584269589,&quot;Placement&quot;:&quot;Footer&quot;,&quot;Top&quot;:2864.10449,&quot;Left&quot;:1565.3905,&quot;SlideWidth&quot;:1620,&quot;SlideHeight&quot;:2880}">
            <a:extLst>
              <a:ext uri="{FF2B5EF4-FFF2-40B4-BE49-F238E27FC236}">
                <a16:creationId xmlns:a16="http://schemas.microsoft.com/office/drawing/2014/main" id="{0CABC3F8-93D1-4C43-B979-654E43A20F9D}"/>
              </a:ext>
            </a:extLst>
          </p:cNvPr>
          <p:cNvSpPr txBox="1"/>
          <p:nvPr userDrawn="1"/>
        </p:nvSpPr>
        <p:spPr>
          <a:xfrm>
            <a:off x="19880459" y="36374130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  <p:pic>
        <p:nvPicPr>
          <p:cNvPr id="3" name="Picture 2" descr="A black background with blue and green letters&#10;&#10;Description automatically generated">
            <a:extLst>
              <a:ext uri="{FF2B5EF4-FFF2-40B4-BE49-F238E27FC236}">
                <a16:creationId xmlns:a16="http://schemas.microsoft.com/office/drawing/2014/main" id="{490062C5-BAD4-4B91-A359-932F96D6B6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77" y="35018553"/>
            <a:ext cx="6211318" cy="11336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9127A5C-C469-5B41-7264-CBEFFF81407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574000" cy="367052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1" r:id="rId3"/>
  </p:sldLayoutIdLst>
  <p:hf hdr="0"/>
  <p:txStyles>
    <p:titleStyle>
      <a:lvl1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2pPr>
      <a:lvl3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3pPr>
      <a:lvl4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4pPr>
      <a:lvl5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5pPr>
      <a:lvl6pPr marL="325078"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6pPr>
      <a:lvl7pPr marL="650156"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7pPr>
      <a:lvl8pPr marL="975234"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8pPr>
      <a:lvl9pPr marL="1300316"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9pPr>
    </p:titleStyle>
    <p:bodyStyle>
      <a:lvl1pPr marL="1212274" indent="-1212274" algn="l" defTabSz="3231598" rtl="0" eaLnBrk="1" fontAlgn="base" hangingPunct="1">
        <a:spcBef>
          <a:spcPct val="10000"/>
        </a:spcBef>
        <a:spcAft>
          <a:spcPct val="20000"/>
        </a:spcAft>
        <a:buClr>
          <a:schemeClr val="tx1"/>
        </a:buClr>
        <a:buSzPct val="50000"/>
        <a:buFont typeface="CommonBullets" pitchFamily="34" charset="2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2626590" indent="-1011358" algn="l" defTabSz="3231598" rtl="0" eaLnBrk="1" fontAlgn="base" hangingPunct="1">
        <a:spcBef>
          <a:spcPct val="10000"/>
        </a:spcBef>
        <a:spcAft>
          <a:spcPct val="20000"/>
        </a:spcAft>
        <a:buSzPct val="45000"/>
        <a:buFont typeface="CommonBullets" pitchFamily="34" charset="2"/>
        <a:buChar char="l"/>
        <a:defRPr sz="7200">
          <a:solidFill>
            <a:schemeClr val="tx1"/>
          </a:solidFill>
          <a:latin typeface="+mn-lt"/>
        </a:defRPr>
      </a:lvl2pPr>
      <a:lvl3pPr marL="4039782" indent="-808180" algn="l" defTabSz="3231598" rtl="0" eaLnBrk="1" fontAlgn="base" hangingPunct="1">
        <a:spcBef>
          <a:spcPct val="10000"/>
        </a:spcBef>
        <a:spcAft>
          <a:spcPct val="20000"/>
        </a:spcAft>
        <a:buClr>
          <a:schemeClr val="tx1"/>
        </a:buClr>
        <a:buSzPct val="40000"/>
        <a:buFont typeface="CommonBullets" pitchFamily="34" charset="2"/>
        <a:buChar char="l"/>
        <a:defRPr sz="6400">
          <a:solidFill>
            <a:schemeClr val="tx1"/>
          </a:solidFill>
          <a:latin typeface="+mn-lt"/>
        </a:defRPr>
      </a:lvl3pPr>
      <a:lvl4pPr marL="5520698" indent="-807052" algn="l" defTabSz="3231598" rtl="0" eaLnBrk="1" fontAlgn="base" hangingPunct="1">
        <a:spcBef>
          <a:spcPct val="10000"/>
        </a:spcBef>
        <a:spcAft>
          <a:spcPct val="20000"/>
        </a:spcAft>
        <a:buSzPct val="35000"/>
        <a:buFont typeface="CommonBullets" pitchFamily="34" charset="2"/>
        <a:buChar char="l"/>
        <a:defRPr sz="5600">
          <a:solidFill>
            <a:schemeClr val="tx1"/>
          </a:solidFill>
          <a:latin typeface="+mn-lt"/>
        </a:defRPr>
      </a:lvl4pPr>
      <a:lvl5pPr marL="7002740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5pPr>
      <a:lvl6pPr marL="7327818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6pPr>
      <a:lvl7pPr marL="7652896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7pPr>
      <a:lvl8pPr marL="7977974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8pPr>
      <a:lvl9pPr marL="8303052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7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5015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7523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31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39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472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55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62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8700" y="1464428"/>
            <a:ext cx="18516600" cy="6096000"/>
          </a:xfrm>
          <a:prstGeom prst="rect">
            <a:avLst/>
          </a:prstGeom>
        </p:spPr>
        <p:txBody>
          <a:bodyPr vert="horz" lIns="65016" tIns="32508" rIns="65016" bIns="3250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8700" y="8534648"/>
            <a:ext cx="18516600" cy="24138272"/>
          </a:xfrm>
          <a:prstGeom prst="rect">
            <a:avLst/>
          </a:prstGeom>
        </p:spPr>
        <p:txBody>
          <a:bodyPr vert="horz" lIns="65016" tIns="32508" rIns="65016" bIns="325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8700" y="33900314"/>
            <a:ext cx="48006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96799F-0A25-48E1-93D5-D2807F49CD2E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29454" y="33900314"/>
            <a:ext cx="65151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44700" y="33900314"/>
            <a:ext cx="48006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584269589,&quot;Placement&quot;:&quot;Footer&quot;,&quot;Top&quot;:2864.10449,&quot;Left&quot;:1565.3905,&quot;SlideWidth&quot;:1620,&quot;SlideHeight&quot;:2880}">
            <a:extLst>
              <a:ext uri="{FF2B5EF4-FFF2-40B4-BE49-F238E27FC236}">
                <a16:creationId xmlns:a16="http://schemas.microsoft.com/office/drawing/2014/main" id="{F890E11B-C964-457B-A145-00A0703E114A}"/>
              </a:ext>
            </a:extLst>
          </p:cNvPr>
          <p:cNvSpPr txBox="1"/>
          <p:nvPr userDrawn="1"/>
        </p:nvSpPr>
        <p:spPr>
          <a:xfrm>
            <a:off x="19880459" y="36374130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4126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txStyles>
    <p:titleStyle>
      <a:lvl1pPr algn="ctr" defTabSz="650156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10" indent="-24381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28256" indent="-203172" algn="l" defTabSz="65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12696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37778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62856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934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113012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438090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763168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7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5015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7523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31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39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472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55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62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8700" y="1464428"/>
            <a:ext cx="18516600" cy="6096000"/>
          </a:xfrm>
          <a:prstGeom prst="rect">
            <a:avLst/>
          </a:prstGeom>
        </p:spPr>
        <p:txBody>
          <a:bodyPr vert="horz" lIns="65016" tIns="32508" rIns="65016" bIns="3250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8700" y="8534648"/>
            <a:ext cx="18516600" cy="24138272"/>
          </a:xfrm>
          <a:prstGeom prst="rect">
            <a:avLst/>
          </a:prstGeom>
        </p:spPr>
        <p:txBody>
          <a:bodyPr vert="horz" lIns="65016" tIns="32508" rIns="65016" bIns="325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8700" y="33900314"/>
            <a:ext cx="48006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C423ED-6A83-433F-A2E6-A3CF0250EF33}" type="datetimeFigureOut">
              <a:rPr lang="en-US" smtClean="0"/>
              <a:t>1/2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29454" y="33900314"/>
            <a:ext cx="65151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44700" y="33900314"/>
            <a:ext cx="48006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584269589,&quot;Placement&quot;:&quot;Footer&quot;,&quot;Top&quot;:2864.10449,&quot;Left&quot;:1565.3905,&quot;SlideWidth&quot;:1620,&quot;SlideHeight&quot;:2880}">
            <a:extLst>
              <a:ext uri="{FF2B5EF4-FFF2-40B4-BE49-F238E27FC236}">
                <a16:creationId xmlns:a16="http://schemas.microsoft.com/office/drawing/2014/main" id="{DB787B0E-CAED-4920-AD8F-FD255E53A4AE}"/>
              </a:ext>
            </a:extLst>
          </p:cNvPr>
          <p:cNvSpPr txBox="1"/>
          <p:nvPr userDrawn="1"/>
        </p:nvSpPr>
        <p:spPr>
          <a:xfrm>
            <a:off x="19880459" y="36374130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77304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txStyles>
    <p:titleStyle>
      <a:lvl1pPr algn="ctr" defTabSz="650156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10" indent="-24381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28256" indent="-203172" algn="l" defTabSz="65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12696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37778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62856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934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113012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438090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763168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7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5015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7523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31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39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472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55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62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inhoud 12"/>
          <p:cNvSpPr>
            <a:spLocks noGrp="1"/>
          </p:cNvSpPr>
          <p:nvPr>
            <p:ph idx="1"/>
          </p:nvPr>
        </p:nvSpPr>
        <p:spPr>
          <a:xfrm>
            <a:off x="685800" y="5667152"/>
            <a:ext cx="19202400" cy="28568060"/>
          </a:xfrm>
        </p:spPr>
        <p:txBody>
          <a:bodyPr/>
          <a:lstStyle/>
          <a:p>
            <a:r>
              <a:rPr lang="nl-NL" sz="2400" dirty="0" err="1">
                <a:solidFill>
                  <a:srgbClr val="000000"/>
                </a:solidFill>
              </a:rPr>
              <a:t>Text</a:t>
            </a:r>
            <a:r>
              <a:rPr lang="nl-NL" sz="2400" dirty="0">
                <a:solidFill>
                  <a:srgbClr val="000000"/>
                </a:solidFill>
              </a:rPr>
              <a:t> </a:t>
            </a:r>
            <a:r>
              <a:rPr lang="nl-NL" sz="2400" dirty="0" err="1">
                <a:solidFill>
                  <a:srgbClr val="000000"/>
                </a:solidFill>
              </a:rPr>
              <a:t>example</a:t>
            </a:r>
            <a:r>
              <a:rPr lang="nl-NL" sz="2400" dirty="0">
                <a:solidFill>
                  <a:srgbClr val="000000"/>
                </a:solidFill>
              </a:rPr>
              <a:t> (</a:t>
            </a:r>
            <a:r>
              <a:rPr lang="nl-NL" sz="2400" dirty="0" err="1">
                <a:solidFill>
                  <a:srgbClr val="000000"/>
                </a:solidFill>
              </a:rPr>
              <a:t>minimal</a:t>
            </a:r>
            <a:r>
              <a:rPr lang="nl-NL" sz="2400" dirty="0">
                <a:solidFill>
                  <a:srgbClr val="000000"/>
                </a:solidFill>
              </a:rPr>
              <a:t> 24 </a:t>
            </a:r>
            <a:r>
              <a:rPr lang="nl-NL" sz="2400" dirty="0" err="1">
                <a:solidFill>
                  <a:srgbClr val="000000"/>
                </a:solidFill>
              </a:rPr>
              <a:t>px</a:t>
            </a:r>
            <a:r>
              <a:rPr lang="nl-NL" sz="2400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685800" y="3657600"/>
            <a:ext cx="9940908" cy="993460"/>
          </a:xfrm>
        </p:spPr>
        <p:txBody>
          <a:bodyPr/>
          <a:lstStyle/>
          <a:p>
            <a:r>
              <a:rPr lang="nl-NL" sz="4400" dirty="0" err="1">
                <a:solidFill>
                  <a:srgbClr val="6E2B89"/>
                </a:solidFill>
              </a:rPr>
              <a:t>Title</a:t>
            </a:r>
            <a:r>
              <a:rPr lang="nl-NL" sz="4400" dirty="0">
                <a:solidFill>
                  <a:srgbClr val="6E2B89"/>
                </a:solidFill>
              </a:rPr>
              <a:t> (</a:t>
            </a:r>
            <a:r>
              <a:rPr lang="nl-NL" sz="4400" dirty="0" err="1">
                <a:solidFill>
                  <a:srgbClr val="6E2B89"/>
                </a:solidFill>
              </a:rPr>
              <a:t>Arial</a:t>
            </a:r>
            <a:r>
              <a:rPr lang="nl-NL" sz="4400" dirty="0">
                <a:solidFill>
                  <a:srgbClr val="6E2B89"/>
                </a:solidFill>
              </a:rPr>
              <a:t>, 44px </a:t>
            </a:r>
            <a:r>
              <a:rPr lang="nl-NL" sz="4400" dirty="0" err="1">
                <a:solidFill>
                  <a:srgbClr val="6E2B89"/>
                </a:solidFill>
              </a:rPr>
              <a:t>bold</a:t>
            </a:r>
            <a:r>
              <a:rPr lang="nl-NL" sz="4400" dirty="0">
                <a:solidFill>
                  <a:srgbClr val="6E2B89"/>
                </a:solidFill>
              </a:rPr>
              <a:t>)</a:t>
            </a:r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3"/>
          </p:nvPr>
        </p:nvSpPr>
        <p:spPr>
          <a:xfrm>
            <a:off x="685800" y="4912112"/>
            <a:ext cx="9940908" cy="595700"/>
          </a:xfrm>
        </p:spPr>
        <p:txBody>
          <a:bodyPr/>
          <a:lstStyle/>
          <a:p>
            <a:r>
              <a:rPr lang="nl-NL" sz="2800" dirty="0">
                <a:solidFill>
                  <a:srgbClr val="2BABE2"/>
                </a:solidFill>
              </a:rPr>
              <a:t>Author(s): (</a:t>
            </a:r>
            <a:r>
              <a:rPr lang="nl-NL" sz="2800" dirty="0" err="1">
                <a:solidFill>
                  <a:srgbClr val="2BABE2"/>
                </a:solidFill>
              </a:rPr>
              <a:t>minimal</a:t>
            </a:r>
            <a:r>
              <a:rPr lang="nl-NL" sz="2800" dirty="0">
                <a:solidFill>
                  <a:srgbClr val="2BABE2"/>
                </a:solidFill>
              </a:rPr>
              <a:t>  28 </a:t>
            </a:r>
            <a:r>
              <a:rPr lang="nl-NL" sz="2800" dirty="0" err="1">
                <a:solidFill>
                  <a:srgbClr val="2BABE2"/>
                </a:solidFill>
              </a:rPr>
              <a:t>px</a:t>
            </a:r>
            <a:r>
              <a:rPr lang="nl-NL" sz="2800" dirty="0">
                <a:solidFill>
                  <a:srgbClr val="2BABE2"/>
                </a:solidFill>
              </a:rPr>
              <a:t>)</a:t>
            </a:r>
          </a:p>
        </p:txBody>
      </p:sp>
      <p:sp>
        <p:nvSpPr>
          <p:cNvPr id="17" name="Text Box 228"/>
          <p:cNvSpPr txBox="1">
            <a:spLocks noChangeArrowheads="1"/>
          </p:cNvSpPr>
          <p:nvPr/>
        </p:nvSpPr>
        <p:spPr bwMode="auto">
          <a:xfrm>
            <a:off x="1270288" y="34791882"/>
            <a:ext cx="3095840" cy="250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012" tIns="32504" rIns="65012" bIns="32504">
            <a:spAutoFit/>
          </a:bodyPr>
          <a:lstStyle/>
          <a:p>
            <a:r>
              <a:rPr lang="en-US" sz="1200" b="1" dirty="0"/>
              <a:t> IEEE 2026</a:t>
            </a:r>
            <a:endParaRPr lang="en-US" b="1" dirty="0"/>
          </a:p>
        </p:txBody>
      </p:sp>
      <p:cxnSp>
        <p:nvCxnSpPr>
          <p:cNvPr id="3" name="Straight Connector 2"/>
          <p:cNvCxnSpPr/>
          <p:nvPr/>
        </p:nvCxnSpPr>
        <p:spPr bwMode="auto">
          <a:xfrm flipV="1">
            <a:off x="1361280" y="34687450"/>
            <a:ext cx="1716895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ah+af1VEdInFy5jxqtA04FAAAAAAADAAAAAAADAAAAAwADAAEA////////BAAAAAMAEAAL+dZxuhfEoUy6nSCSWXhV8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Dah+af1VEdInFy5jxqtA04DRGF0YQAbAAAABExpbmtlZFNoYXBlRGF0YQAFAAAAAAACTmFtZQAZAAAATGlua2VkU2hhcGVzRGF0YVByb3BlcnR5ABBWZXJzaW9uAAAAAAAJTGFzdFdyaXRlABL6BgqEAQAAAAEA/////8YAxgAAAAVfaWQAEAAAAAT51nG6F8ShTLqdIJJZeFXyA0RhdGEAUwAAAAhQcmVzZW50YXRpb25TY2FubmVkRm9yTGlua2VkU2hhcGVzAAECTnVtYmVyRm9ybWF0U2VwYXJhdG9yTW9kZQAKAAAAQXV0b21hdGljAAACTmFtZQAkAAAATGlua2VkU2hhcGVQcmVzZW50YXRpb25TZXR0aW5nc0RhdGEAEFZlcnNpb24AAAAAAAlMYXN0V3JpdGUATvoGCo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posterportraittemplate_TC2013_Vs2">
  <a:themeElements>
    <a:clrScheme name="ASML">
      <a:dk1>
        <a:srgbClr val="0F238C"/>
      </a:dk1>
      <a:lt1>
        <a:srgbClr val="FFFFFF"/>
      </a:lt1>
      <a:dk2>
        <a:srgbClr val="1C7DDB"/>
      </a:dk2>
      <a:lt2>
        <a:srgbClr val="86CEF4"/>
      </a:lt2>
      <a:accent1>
        <a:srgbClr val="0F238C"/>
      </a:accent1>
      <a:accent2>
        <a:srgbClr val="8E8E8E"/>
      </a:accent2>
      <a:accent3>
        <a:srgbClr val="FF7F45"/>
      </a:accent3>
      <a:accent4>
        <a:srgbClr val="34B233"/>
      </a:accent4>
      <a:accent5>
        <a:srgbClr val="FED100"/>
      </a:accent5>
      <a:accent6>
        <a:srgbClr val="1C7DDB"/>
      </a:accent6>
      <a:hlink>
        <a:srgbClr val="1C7DDB"/>
      </a:hlink>
      <a:folHlink>
        <a:srgbClr val="8E8E8E"/>
      </a:folHlink>
    </a:clrScheme>
    <a:fontScheme name="ASML_Presentation.p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SML_Presentation.pot 1">
        <a:dk1>
          <a:srgbClr val="0F238C"/>
        </a:dk1>
        <a:lt1>
          <a:srgbClr val="FFFFFF"/>
        </a:lt1>
        <a:dk2>
          <a:srgbClr val="0F238C"/>
        </a:dk2>
        <a:lt2>
          <a:srgbClr val="86CEF4"/>
        </a:lt2>
        <a:accent1>
          <a:srgbClr val="1C7DDB"/>
        </a:accent1>
        <a:accent2>
          <a:srgbClr val="FF870C"/>
        </a:accent2>
        <a:accent3>
          <a:srgbClr val="FFFFFF"/>
        </a:accent3>
        <a:accent4>
          <a:srgbClr val="0B1C77"/>
        </a:accent4>
        <a:accent5>
          <a:srgbClr val="ABBFEA"/>
        </a:accent5>
        <a:accent6>
          <a:srgbClr val="E77A0A"/>
        </a:accent6>
        <a:hlink>
          <a:srgbClr val="27BA51"/>
        </a:hlink>
        <a:folHlink>
          <a:srgbClr val="FFE51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sterportraittemplate_TC2013_Vs2</Template>
  <TotalTime>273</TotalTime>
  <Words>27</Words>
  <Application>Microsoft Office PowerPoint</Application>
  <PresentationFormat>Custom</PresentationFormat>
  <Paragraphs>5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ommonBullets</vt:lpstr>
      <vt:lpstr>posterportraittemplate_TC2013_Vs2</vt:lpstr>
      <vt:lpstr>Custom Design</vt:lpstr>
      <vt:lpstr>1_Custom Design</vt:lpstr>
      <vt:lpstr>Title (Arial, 44px bold)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, 60pt bold)</dc:title>
  <dc:subject>Template for an A0 presentation</dc:subject>
  <dc:creator>Saskia Boeije</dc:creator>
  <cp:lastModifiedBy>Sara Diffenbach</cp:lastModifiedBy>
  <cp:revision>21</cp:revision>
  <cp:lastPrinted>2003-03-19T16:10:53Z</cp:lastPrinted>
  <dcterms:created xsi:type="dcterms:W3CDTF">2014-02-27T16:39:44Z</dcterms:created>
  <dcterms:modified xsi:type="dcterms:W3CDTF">2026-01-28T18:13:51Z</dcterms:modified>
  <cp:category>Corporate Identity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c18959a-f805-4b02-b465-c75c791063b3_Enabled">
    <vt:lpwstr>true</vt:lpwstr>
  </property>
  <property fmtid="{D5CDD505-2E9C-101B-9397-08002B2CF9AE}" pid="3" name="MSIP_Label_1c18959a-f805-4b02-b465-c75c791063b3_SetDate">
    <vt:lpwstr>2022-10-24T12:48:34Z</vt:lpwstr>
  </property>
  <property fmtid="{D5CDD505-2E9C-101B-9397-08002B2CF9AE}" pid="4" name="MSIP_Label_1c18959a-f805-4b02-b465-c75c791063b3_Method">
    <vt:lpwstr>Privileged</vt:lpwstr>
  </property>
  <property fmtid="{D5CDD505-2E9C-101B-9397-08002B2CF9AE}" pid="5" name="MSIP_Label_1c18959a-f805-4b02-b465-c75c791063b3_Name">
    <vt:lpwstr>1c18959a-f805-4b02-b465-c75c791063b3</vt:lpwstr>
  </property>
  <property fmtid="{D5CDD505-2E9C-101B-9397-08002B2CF9AE}" pid="6" name="MSIP_Label_1c18959a-f805-4b02-b465-c75c791063b3_SiteId">
    <vt:lpwstr>af73baa8-f594-4eb2-a39d-93e96cad61fc</vt:lpwstr>
  </property>
  <property fmtid="{D5CDD505-2E9C-101B-9397-08002B2CF9AE}" pid="7" name="MSIP_Label_1c18959a-f805-4b02-b465-c75c791063b3_ActionId">
    <vt:lpwstr>6e834bf0-6bfe-4628-b272-b8e42646a76c</vt:lpwstr>
  </property>
  <property fmtid="{D5CDD505-2E9C-101B-9397-08002B2CF9AE}" pid="8" name="MSIP_Label_1c18959a-f805-4b02-b465-c75c791063b3_ContentBits">
    <vt:lpwstr>2</vt:lpwstr>
  </property>
</Properties>
</file>